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597" r:id="rId2"/>
    <p:sldId id="579" r:id="rId3"/>
    <p:sldId id="471" r:id="rId4"/>
    <p:sldId id="472" r:id="rId5"/>
    <p:sldId id="473" r:id="rId6"/>
    <p:sldId id="475" r:id="rId7"/>
    <p:sldId id="474" r:id="rId8"/>
    <p:sldId id="581" r:id="rId9"/>
    <p:sldId id="582" r:id="rId10"/>
    <p:sldId id="583" r:id="rId11"/>
    <p:sldId id="588" r:id="rId12"/>
    <p:sldId id="587" r:id="rId13"/>
    <p:sldId id="506" r:id="rId14"/>
    <p:sldId id="591" r:id="rId15"/>
    <p:sldId id="589" r:id="rId16"/>
    <p:sldId id="599" r:id="rId17"/>
    <p:sldId id="600" r:id="rId18"/>
    <p:sldId id="592" r:id="rId19"/>
    <p:sldId id="605" r:id="rId20"/>
    <p:sldId id="603" r:id="rId21"/>
    <p:sldId id="601" r:id="rId22"/>
    <p:sldId id="598" r:id="rId23"/>
    <p:sldId id="596" r:id="rId24"/>
  </p:sldIdLst>
  <p:sldSz cx="12192000" cy="6858000"/>
  <p:notesSz cx="7099300" cy="10234613"/>
  <p:custDataLst>
    <p:tags r:id="rId27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B1D5E3"/>
    <a:srgbClr val="386B9B"/>
    <a:srgbClr val="262626"/>
    <a:srgbClr val="6C6C6C"/>
    <a:srgbClr val="BDDDE7"/>
    <a:srgbClr val="F5F5F5"/>
    <a:srgbClr val="595959"/>
    <a:srgbClr val="D2D2D2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2197" autoAdjust="0"/>
    <p:restoredTop sz="94941" autoAdjust="0"/>
  </p:normalViewPr>
  <p:slideViewPr>
    <p:cSldViewPr snapToGrid="0" snapToObjects="1">
      <p:cViewPr>
        <p:scale>
          <a:sx n="50" d="100"/>
          <a:sy n="50" d="100"/>
        </p:scale>
        <p:origin x="328" y="1168"/>
      </p:cViewPr>
      <p:guideLst>
        <p:guide orient="horz" pos="2160"/>
        <p:guide pos="38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tags" Target="tags/tag1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B9DEF3A-83EA-5A42-9887-28D7600E3DEA}" type="datetimeFigureOut">
              <a:rPr lang="de-DE" smtClean="0"/>
              <a:pPr/>
              <a:t>24.10.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3B8A51C-A989-804A-91CA-DFC71EAF8DE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34215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4E86720-D4F8-544E-A070-C87B625BF7D9}" type="datetimeFigureOut">
              <a:rPr lang="de-DE" smtClean="0"/>
              <a:pPr/>
              <a:t>24.10.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E1250B5-9814-5240-95CB-F8E1F528E3B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76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970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737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 userDrawn="1"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715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59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43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718766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1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 smtClean="0"/>
              <a:t>QAware</a:t>
            </a:r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12. Februar 2014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9" r:id="rId3"/>
    <p:sldLayoutId id="2147483685" r:id="rId4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6.emf"/><Relationship Id="rId6" Type="http://schemas.openxmlformats.org/officeDocument/2006/relationships/image" Target="../media/image17.png"/><Relationship Id="rId7" Type="http://schemas.openxmlformats.org/officeDocument/2006/relationships/image" Target="../media/image18.jpeg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9.emf"/><Relationship Id="rId6" Type="http://schemas.openxmlformats.org/officeDocument/2006/relationships/image" Target="../media/image20.jpeg"/><Relationship Id="rId7" Type="http://schemas.openxmlformats.org/officeDocument/2006/relationships/image" Target="../media/image21.jpeg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6.emf"/><Relationship Id="rId6" Type="http://schemas.openxmlformats.org/officeDocument/2006/relationships/image" Target="../media/image17.png"/><Relationship Id="rId7" Type="http://schemas.openxmlformats.org/officeDocument/2006/relationships/image" Target="../media/image18.jpeg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2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3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6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4" Type="http://schemas.openxmlformats.org/officeDocument/2006/relationships/hyperlink" Target="https://blog.risingstack.com/how-enterprises-benefit-from-microservices-architectures" TargetMode="External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4" Type="http://schemas.openxmlformats.org/officeDocument/2006/relationships/hyperlink" Target="https://blog.risingstack.com/how-enterprises-benefit-from-microservices-architectures" TargetMode="External"/><Relationship Id="rId5" Type="http://schemas.openxmlformats.org/officeDocument/2006/relationships/hyperlink" Target="http://www.baselinemag.com/enterprise-apps/walmart-embraces-microservices-to-get-more-agile.html" TargetMode="External"/><Relationship Id="rId6" Type="http://schemas.openxmlformats.org/officeDocument/2006/relationships/hyperlink" Target="http://techcrunch.com/2014/12/02/walmart-com-reports-biggest-cyber-monday-in-history-mobile-traffic-at-70-over-the-holidays/" TargetMode="External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5812" y="5273627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Microservices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46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GAFA </a:t>
            </a:r>
            <a:r>
              <a:rPr lang="de-DE" dirty="0" err="1" smtClean="0"/>
              <a:t>inspirati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66436" y="3974942"/>
            <a:ext cx="10986104" cy="227511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 sz="2400" b="1" dirty="0" err="1" smtClean="0"/>
              <a:t>Elastically</a:t>
            </a:r>
            <a:r>
              <a:rPr lang="de-DE" sz="2400" b="1" dirty="0" smtClean="0"/>
              <a:t> </a:t>
            </a:r>
            <a:r>
              <a:rPr lang="de-DE" sz="2400" b="1" dirty="0" err="1"/>
              <a:t>s</a:t>
            </a:r>
            <a:r>
              <a:rPr lang="de-DE" sz="2400" b="1" dirty="0" err="1" smtClean="0"/>
              <a:t>cale</a:t>
            </a:r>
            <a:r>
              <a:rPr lang="de-DE" sz="2400" b="1" dirty="0" smtClean="0"/>
              <a:t>-out</a:t>
            </a:r>
            <a:r>
              <a:rPr lang="de-DE" sz="2400" dirty="0" smtClean="0"/>
              <a:t> (</a:t>
            </a:r>
            <a:r>
              <a:rPr lang="de-DE" sz="2400" dirty="0" err="1" smtClean="0"/>
              <a:t>hyperscale</a:t>
            </a:r>
            <a:r>
              <a:rPr lang="de-DE" sz="2400" dirty="0" smtClean="0"/>
              <a:t>) in </a:t>
            </a:r>
            <a:r>
              <a:rPr lang="de-DE" sz="2400" dirty="0" err="1" smtClean="0"/>
              <a:t>terms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traffic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endParaRPr lang="de-DE" sz="2400" dirty="0" smtClean="0"/>
          </a:p>
          <a:p>
            <a:r>
              <a:rPr lang="de-DE" sz="2400" b="1" dirty="0" smtClean="0"/>
              <a:t>Pay-</a:t>
            </a:r>
            <a:r>
              <a:rPr lang="de-DE" sz="2400" b="1" dirty="0" err="1" smtClean="0"/>
              <a:t>as</a:t>
            </a:r>
            <a:r>
              <a:rPr lang="de-DE" sz="2400" b="1" dirty="0" smtClean="0"/>
              <a:t>-</a:t>
            </a:r>
            <a:r>
              <a:rPr lang="de-DE" sz="2400" b="1" dirty="0" err="1" smtClean="0"/>
              <a:t>you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go</a:t>
            </a:r>
            <a:r>
              <a:rPr lang="de-DE" sz="2400" dirty="0" smtClean="0"/>
              <a:t>: </a:t>
            </a:r>
            <a:r>
              <a:rPr lang="de-DE" sz="2400" dirty="0" err="1"/>
              <a:t>No</a:t>
            </a:r>
            <a:r>
              <a:rPr lang="de-DE" sz="2400" dirty="0"/>
              <a:t> </a:t>
            </a:r>
            <a:r>
              <a:rPr lang="de-DE" sz="2400" dirty="0" err="1"/>
              <a:t>opportunity</a:t>
            </a:r>
            <a:r>
              <a:rPr lang="de-DE" sz="2400" dirty="0"/>
              <a:t> </a:t>
            </a:r>
            <a:r>
              <a:rPr lang="de-DE" sz="2400" dirty="0" err="1" smtClean="0"/>
              <a:t>costs</a:t>
            </a:r>
            <a:r>
              <a:rPr lang="de-DE" sz="2400" dirty="0" smtClean="0"/>
              <a:t> </a:t>
            </a:r>
            <a:br>
              <a:rPr lang="de-DE" sz="2400" dirty="0" smtClean="0"/>
            </a:br>
            <a:r>
              <a:rPr lang="de-DE" sz="2400" dirty="0" smtClean="0"/>
              <a:t>(&lt;10% </a:t>
            </a:r>
            <a:r>
              <a:rPr lang="de-DE" sz="2400" dirty="0" smtClean="0">
                <a:sym typeface="Wingdings" panose="05000000000000000000" pitchFamily="2" charset="2"/>
              </a:rPr>
              <a:t> 40-50% </a:t>
            </a:r>
            <a:r>
              <a:rPr lang="de-DE" sz="2400" dirty="0" err="1" smtClean="0">
                <a:sym typeface="Wingdings" panose="05000000000000000000" pitchFamily="2" charset="2"/>
              </a:rPr>
              <a:t>utilization</a:t>
            </a:r>
            <a:r>
              <a:rPr lang="de-DE" sz="2400" dirty="0" smtClean="0">
                <a:sym typeface="Wingdings" panose="05000000000000000000" pitchFamily="2" charset="2"/>
              </a:rPr>
              <a:t>; </a:t>
            </a:r>
            <a:r>
              <a:rPr lang="de-DE" sz="2400" dirty="0" err="1" smtClean="0">
                <a:sym typeface="Wingdings" panose="05000000000000000000" pitchFamily="2" charset="2"/>
              </a:rPr>
              <a:t>automate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everything</a:t>
            </a:r>
            <a:r>
              <a:rPr lang="de-DE" sz="2400" dirty="0" smtClean="0">
                <a:sym typeface="Wingdings" panose="05000000000000000000" pitchFamily="2" charset="2"/>
              </a:rPr>
              <a:t>)</a:t>
            </a:r>
            <a:endParaRPr lang="de-DE" sz="2400" dirty="0" smtClean="0"/>
          </a:p>
          <a:p>
            <a:r>
              <a:rPr lang="de-DE" sz="2400" b="1" dirty="0" smtClean="0"/>
              <a:t>Feature </a:t>
            </a:r>
            <a:r>
              <a:rPr lang="de-DE" sz="2400" b="1" dirty="0" err="1" smtClean="0"/>
              <a:t>race</a:t>
            </a:r>
            <a:r>
              <a:rPr lang="de-DE" sz="2400" b="1" dirty="0" smtClean="0"/>
              <a:t> </a:t>
            </a:r>
            <a:r>
              <a:rPr lang="de-DE" sz="2400" dirty="0" smtClean="0"/>
              <a:t>(</a:t>
            </a:r>
            <a:r>
              <a:rPr lang="de-DE" sz="2400" dirty="0" err="1" smtClean="0"/>
              <a:t>continuous</a:t>
            </a:r>
            <a:r>
              <a:rPr lang="de-DE" sz="2400" dirty="0" smtClean="0"/>
              <a:t> </a:t>
            </a:r>
            <a:r>
              <a:rPr lang="de-DE" sz="2400" dirty="0" err="1" smtClean="0"/>
              <a:t>delivery</a:t>
            </a:r>
            <a:r>
              <a:rPr lang="de-DE" sz="2400" dirty="0" smtClean="0"/>
              <a:t>): </a:t>
            </a:r>
            <a:r>
              <a:rPr lang="de-DE" sz="2400" dirty="0" err="1" smtClean="0"/>
              <a:t>Develop</a:t>
            </a:r>
            <a:r>
              <a:rPr lang="de-DE" sz="2400" dirty="0" smtClean="0"/>
              <a:t>, </a:t>
            </a:r>
            <a:r>
              <a:rPr lang="de-DE" sz="2400" dirty="0" err="1" smtClean="0"/>
              <a:t>launch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e</a:t>
            </a:r>
            <a:r>
              <a:rPr lang="de-DE" sz="2400" dirty="0" smtClean="0"/>
              <a:t> a </a:t>
            </a:r>
            <a:r>
              <a:rPr lang="de-DE" sz="2400" dirty="0" err="1" smtClean="0"/>
              <a:t>variety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features</a:t>
            </a:r>
            <a:r>
              <a:rPr lang="de-DE" sz="2400" dirty="0" smtClean="0"/>
              <a:t> </a:t>
            </a:r>
            <a:r>
              <a:rPr lang="de-DE" sz="2400" dirty="0" err="1" smtClean="0"/>
              <a:t>continuously</a:t>
            </a:r>
            <a:endParaRPr lang="de-DE" sz="2400" dirty="0" smtClean="0"/>
          </a:p>
        </p:txBody>
      </p:sp>
      <p:pic>
        <p:nvPicPr>
          <p:cNvPr id="136194" name="Picture 2" descr="http://internationalschooltechnology.com/wp-content/uploads/2016/05/Google-Apple-Facebook-Amazo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9180" y="1229019"/>
            <a:ext cx="8648700" cy="272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775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1: </a:t>
            </a:r>
            <a:r>
              <a:rPr lang="de-DE" dirty="0" err="1" smtClean="0"/>
              <a:t>Decomposition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0325" y="1641288"/>
            <a:ext cx="4965893" cy="4081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82879" t="2449" r="4800" b="92684"/>
          <a:stretch/>
        </p:blipFill>
        <p:spPr>
          <a:xfrm>
            <a:off x="7771627" y="2307091"/>
            <a:ext cx="982791" cy="3190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63506" t="-485" r="29932" b="97274"/>
          <a:stretch/>
        </p:blipFill>
        <p:spPr>
          <a:xfrm>
            <a:off x="8867619" y="2245528"/>
            <a:ext cx="945861" cy="38065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70789" t="223" r="22329" b="97246"/>
          <a:stretch/>
        </p:blipFill>
        <p:spPr>
          <a:xfrm>
            <a:off x="7771627" y="2914805"/>
            <a:ext cx="971525" cy="28242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l="85081" t="-485" r="8517" b="97274"/>
          <a:stretch/>
        </p:blipFill>
        <p:spPr>
          <a:xfrm>
            <a:off x="8867619" y="2790071"/>
            <a:ext cx="892843" cy="368298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/>
          <a:srcRect l="21343" t="2212" r="21694" b="93116"/>
          <a:stretch/>
        </p:blipFill>
        <p:spPr>
          <a:xfrm>
            <a:off x="7782221" y="1790276"/>
            <a:ext cx="2170796" cy="14634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2"/>
          <a:srcRect l="53263" t="41" r="40815" b="97428"/>
          <a:stretch/>
        </p:blipFill>
        <p:spPr>
          <a:xfrm>
            <a:off x="7771627" y="3488501"/>
            <a:ext cx="902905" cy="31723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2"/>
          <a:srcRect l="59458" t="-587" r="36301" b="97375"/>
          <a:stretch/>
        </p:blipFill>
        <p:spPr>
          <a:xfrm>
            <a:off x="7930391" y="4097014"/>
            <a:ext cx="585375" cy="364479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77831" t="-20" r="15527" b="97100"/>
          <a:stretch/>
        </p:blipFill>
        <p:spPr>
          <a:xfrm>
            <a:off x="8987172" y="3577882"/>
            <a:ext cx="915185" cy="33079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2"/>
          <a:srcRect t="49322" b="842"/>
          <a:stretch/>
        </p:blipFill>
        <p:spPr>
          <a:xfrm>
            <a:off x="7928703" y="4816002"/>
            <a:ext cx="1628898" cy="667240"/>
          </a:xfrm>
          <a:prstGeom prst="rect">
            <a:avLst/>
          </a:prstGeom>
        </p:spPr>
      </p:pic>
      <p:sp>
        <p:nvSpPr>
          <p:cNvPr id="14" name="Pfeil nach rechts 13"/>
          <p:cNvSpPr/>
          <p:nvPr/>
        </p:nvSpPr>
        <p:spPr>
          <a:xfrm>
            <a:off x="6429602" y="3108441"/>
            <a:ext cx="936172" cy="1147437"/>
          </a:xfrm>
          <a:prstGeom prst="rightArrow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337431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0949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1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</a:t>
            </a:r>
            <a:r>
              <a:rPr lang="de-DE" dirty="0" err="1" smtClean="0"/>
              <a:t>alo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oftware </a:t>
            </a:r>
            <a:r>
              <a:rPr lang="de-DE" dirty="0" err="1"/>
              <a:t>L</a:t>
            </a:r>
            <a:r>
              <a:rPr lang="de-DE" dirty="0" err="1" smtClean="0"/>
              <a:t>ifecyc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" name="Richtungspfeil 7"/>
          <p:cNvSpPr/>
          <p:nvPr/>
        </p:nvSpPr>
        <p:spPr>
          <a:xfrm>
            <a:off x="141812" y="1774372"/>
            <a:ext cx="3823303" cy="653142"/>
          </a:xfrm>
          <a:prstGeom prst="homePlat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Eingekerbter Richtungspfeil 8"/>
          <p:cNvSpPr/>
          <p:nvPr/>
        </p:nvSpPr>
        <p:spPr>
          <a:xfrm>
            <a:off x="3965115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10" name="Eingekerbter Richtungspfeil 9"/>
          <p:cNvSpPr/>
          <p:nvPr/>
        </p:nvSpPr>
        <p:spPr>
          <a:xfrm>
            <a:off x="7981944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994755" y="1839333"/>
            <a:ext cx="1560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DESIG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5264069" y="1843245"/>
            <a:ext cx="12426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BUILD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559821" y="1839333"/>
            <a:ext cx="9637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RU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89468" y="3178628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1223838" y="4180113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2325713" y="3178627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1636384" y="3291296"/>
            <a:ext cx="272143" cy="27540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1636384" y="3804556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740578" y="2737169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winkelte Verbindung 18"/>
          <p:cNvCxnSpPr>
            <a:stCxn id="14" idx="0"/>
            <a:endCxn id="17" idx="4"/>
          </p:cNvCxnSpPr>
          <p:nvPr/>
        </p:nvCxnSpPr>
        <p:spPr>
          <a:xfrm rot="16200000" flipV="1">
            <a:off x="2781108" y="3083083"/>
            <a:ext cx="191086" cy="1"/>
          </a:xfrm>
          <a:prstGeom prst="bentConnector3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>
            <a:stCxn id="12" idx="3"/>
            <a:endCxn id="15" idx="2"/>
          </p:cNvCxnSpPr>
          <p:nvPr/>
        </p:nvCxnSpPr>
        <p:spPr>
          <a:xfrm>
            <a:off x="1491343" y="3429000"/>
            <a:ext cx="145041" cy="1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/>
          <p:cNvCxnSpPr>
            <a:stCxn id="16" idx="4"/>
            <a:endCxn id="13" idx="0"/>
          </p:cNvCxnSpPr>
          <p:nvPr/>
        </p:nvCxnSpPr>
        <p:spPr>
          <a:xfrm rot="16200000" flipH="1">
            <a:off x="1711024" y="4116360"/>
            <a:ext cx="125185" cy="2320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26"/>
          <p:cNvCxnSpPr>
            <a:stCxn id="12" idx="2"/>
            <a:endCxn id="16" idx="2"/>
          </p:cNvCxnSpPr>
          <p:nvPr/>
        </p:nvCxnSpPr>
        <p:spPr>
          <a:xfrm rot="16200000" flipH="1">
            <a:off x="1163210" y="3456567"/>
            <a:ext cx="250371" cy="695978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/>
          <p:cNvCxnSpPr>
            <a:stCxn id="14" idx="2"/>
            <a:endCxn id="16" idx="6"/>
          </p:cNvCxnSpPr>
          <p:nvPr/>
        </p:nvCxnSpPr>
        <p:spPr>
          <a:xfrm rot="5400000">
            <a:off x="2267403" y="3320494"/>
            <a:ext cx="250372" cy="968124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30"/>
          <p:cNvCxnSpPr>
            <a:stCxn id="14" idx="1"/>
            <a:endCxn id="15" idx="6"/>
          </p:cNvCxnSpPr>
          <p:nvPr/>
        </p:nvCxnSpPr>
        <p:spPr>
          <a:xfrm rot="10800000" flipV="1">
            <a:off x="1908527" y="3428999"/>
            <a:ext cx="417186" cy="2"/>
          </a:xfrm>
          <a:prstGeom prst="bentConnector3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23948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Complex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chemeClr val="tx1"/>
                </a:solidFill>
              </a:rPr>
              <a:t>D</a:t>
            </a:r>
            <a:r>
              <a:rPr lang="de-DE" dirty="0" smtClean="0">
                <a:solidFill>
                  <a:schemeClr val="tx1"/>
                </a:solidFill>
              </a:rPr>
              <a:t>ata </a:t>
            </a:r>
            <a:r>
              <a:rPr lang="de-DE" dirty="0" err="1" smtClean="0">
                <a:solidFill>
                  <a:schemeClr val="tx1"/>
                </a:solidFill>
              </a:rPr>
              <a:t>integr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chemeClr val="tx1"/>
                </a:solidFill>
              </a:rPr>
              <a:t>C</a:t>
            </a:r>
            <a:r>
              <a:rPr lang="de-DE" dirty="0" err="1" smtClean="0">
                <a:solidFill>
                  <a:schemeClr val="tx1"/>
                </a:solidFill>
              </a:rPr>
              <a:t>oher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n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hesiv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feature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coupl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410013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Plann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Team </a:t>
            </a:r>
            <a:r>
              <a:rPr lang="de-DE" dirty="0" err="1" smtClean="0">
                <a:solidFill>
                  <a:schemeClr val="tx1"/>
                </a:solidFill>
              </a:rPr>
              <a:t>assign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Knowledg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Development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Integration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8084307" y="5138057"/>
            <a:ext cx="3914465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Releas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ploy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Runtim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(</a:t>
            </a:r>
            <a:r>
              <a:rPr lang="de-DE" dirty="0" err="1" smtClean="0">
                <a:solidFill>
                  <a:schemeClr val="tx1"/>
                </a:solidFill>
              </a:rPr>
              <a:t>crash</a:t>
            </a:r>
            <a:r>
              <a:rPr lang="de-DE" dirty="0" smtClean="0">
                <a:solidFill>
                  <a:schemeClr val="tx1"/>
                </a:solidFill>
              </a:rPr>
              <a:t>, </a:t>
            </a:r>
            <a:r>
              <a:rPr lang="de-DE" dirty="0" err="1" smtClean="0">
                <a:solidFill>
                  <a:schemeClr val="tx1"/>
                </a:solidFill>
              </a:rPr>
              <a:t>slow</a:t>
            </a:r>
            <a:r>
              <a:rPr lang="de-DE" dirty="0" smtClean="0">
                <a:solidFill>
                  <a:schemeClr val="tx1"/>
                </a:solidFill>
              </a:rPr>
              <a:t>-down, </a:t>
            </a:r>
            <a:r>
              <a:rPr lang="de-DE" dirty="0" err="1" smtClean="0">
                <a:solidFill>
                  <a:schemeClr val="tx1"/>
                </a:solidFill>
              </a:rPr>
              <a:t>local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ccess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Scal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4977844" y="3203017"/>
            <a:ext cx="1940026" cy="137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Pfeil nach rechts 34"/>
          <p:cNvSpPr/>
          <p:nvPr/>
        </p:nvSpPr>
        <p:spPr>
          <a:xfrm>
            <a:off x="3654021" y="3701143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Pfeil nach rechts 37"/>
          <p:cNvSpPr/>
          <p:nvPr/>
        </p:nvSpPr>
        <p:spPr>
          <a:xfrm>
            <a:off x="7404150" y="3633106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38251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132" y="2890238"/>
            <a:ext cx="1890210" cy="193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feld 36"/>
          <p:cNvSpPr txBox="1"/>
          <p:nvPr/>
        </p:nvSpPr>
        <p:spPr>
          <a:xfrm rot="20927256">
            <a:off x="699002" y="2591800"/>
            <a:ext cx="2274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Design Components</a:t>
            </a:r>
            <a:endParaRPr lang="de-DE" dirty="0"/>
          </a:p>
        </p:txBody>
      </p:sp>
      <p:sp>
        <p:nvSpPr>
          <p:cNvPr id="42" name="Textfeld 41"/>
          <p:cNvSpPr txBox="1"/>
          <p:nvPr/>
        </p:nvSpPr>
        <p:spPr>
          <a:xfrm rot="20927256">
            <a:off x="4901793" y="2561766"/>
            <a:ext cx="19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 rot="20927256">
            <a:off x="8830855" y="2569419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723933" y="4028105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:1</a:t>
            </a:r>
            <a:endParaRPr lang="de-DE" b="1" dirty="0"/>
          </a:p>
        </p:txBody>
      </p:sp>
      <p:sp>
        <p:nvSpPr>
          <p:cNvPr id="45" name="Textfeld 44"/>
          <p:cNvSpPr txBox="1"/>
          <p:nvPr/>
        </p:nvSpPr>
        <p:spPr>
          <a:xfrm>
            <a:off x="7463853" y="3963181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4" name="TextBox 3"/>
          <p:cNvSpPr txBox="1"/>
          <p:nvPr/>
        </p:nvSpPr>
        <p:spPr>
          <a:xfrm rot="1925018">
            <a:off x="10561506" y="2280519"/>
            <a:ext cx="787395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NEW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67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2" grpId="0" animBg="1"/>
      <p:bldP spid="33" grpId="0" animBg="1"/>
      <p:bldP spid="34" grpId="0" animBg="1"/>
      <p:bldP spid="35" grpId="0" animBg="1"/>
      <p:bldP spid="38" grpId="0" animBg="1"/>
      <p:bldP spid="37" grpId="0"/>
      <p:bldP spid="42" grpId="0"/>
      <p:bldP spid="43" grpId="0"/>
      <p:bldP spid="40" grpId="0"/>
      <p:bldP spid="45" grpId="0"/>
      <p:bldP spid="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76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/>
        </p:nvCxnSpPr>
        <p:spPr>
          <a:xfrm flipV="1">
            <a:off x="5900973" y="3938217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3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5080463" y="2132089"/>
            <a:ext cx="1657351" cy="196179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198188" y="2779753"/>
            <a:ext cx="1428347" cy="661307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pplication</a:t>
            </a:r>
            <a:endParaRPr lang="de-DE" dirty="0" smtClean="0"/>
          </a:p>
        </p:txBody>
      </p:sp>
      <p:cxnSp>
        <p:nvCxnSpPr>
          <p:cNvPr id="14" name="Gerader Verbinder 13"/>
          <p:cNvCxnSpPr>
            <a:stCxn id="5" idx="0"/>
          </p:cNvCxnSpPr>
          <p:nvPr/>
        </p:nvCxnSpPr>
        <p:spPr>
          <a:xfrm flipV="1">
            <a:off x="5909139" y="1734400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>
          <a:xfrm>
            <a:off x="5754017" y="157165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Ellipse 17"/>
          <p:cNvSpPr/>
          <p:nvPr/>
        </p:nvSpPr>
        <p:spPr>
          <a:xfrm>
            <a:off x="5754017" y="4335906"/>
            <a:ext cx="310243" cy="302079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5529499" y="4486945"/>
            <a:ext cx="849086" cy="242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6064260" y="1549734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Internet </a:t>
            </a:r>
            <a:r>
              <a:rPr lang="de-DE" dirty="0" smtClean="0"/>
              <a:t>Protocol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6086942" y="4226760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ternet Protocol</a:t>
            </a:r>
            <a:endParaRPr lang="de-DE" dirty="0"/>
          </a:p>
        </p:txBody>
      </p:sp>
      <p:sp>
        <p:nvSpPr>
          <p:cNvPr id="22" name="Ellipse 21"/>
          <p:cNvSpPr/>
          <p:nvPr/>
        </p:nvSpPr>
        <p:spPr>
          <a:xfrm>
            <a:off x="6999071" y="296194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3" name="Gerader Verbinder 22"/>
          <p:cNvCxnSpPr>
            <a:endCxn id="5" idx="3"/>
          </p:cNvCxnSpPr>
          <p:nvPr/>
        </p:nvCxnSpPr>
        <p:spPr>
          <a:xfrm flipH="1">
            <a:off x="6737814" y="3112984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7309314" y="2928317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Inteface</a:t>
            </a:r>
            <a:endParaRPr lang="de-DE" dirty="0"/>
          </a:p>
        </p:txBody>
      </p:sp>
      <p:sp>
        <p:nvSpPr>
          <p:cNvPr id="30" name="Ellipse 29"/>
          <p:cNvSpPr/>
          <p:nvPr/>
        </p:nvSpPr>
        <p:spPr>
          <a:xfrm>
            <a:off x="4508963" y="2975370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1" name="Gerader Verbinder 30"/>
          <p:cNvCxnSpPr/>
          <p:nvPr/>
        </p:nvCxnSpPr>
        <p:spPr>
          <a:xfrm flipH="1">
            <a:off x="4819206" y="3126410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2416556" y="2961944"/>
            <a:ext cx="211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iagnose Interface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080463" y="213660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Container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15892" name="Picture 180" descr="http://www.autoservicepraxis.de/sixcms/media.php/5172/thumbnails/gm-zuendschloss.jpg.459351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5098" y="2625632"/>
            <a:ext cx="1677955" cy="104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894" name="Picture 182" descr="http://cdn.idealo.com/folder/Product/4206/8/4206894/s1_produktbild_mid/lescars-nx-3014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83" y="2513056"/>
            <a:ext cx="1685848" cy="140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1631235" y="4928079"/>
            <a:ext cx="8911414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Contraints</a:t>
            </a:r>
            <a:r>
              <a:rPr lang="de-DE" b="1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r>
              <a:rPr lang="de-DE" dirty="0" smtClean="0"/>
              <a:t> APIs (e.g. Oracle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listen on </a:t>
            </a:r>
            <a:r>
              <a:rPr lang="de-DE" dirty="0" err="1" smtClean="0"/>
              <a:t>random</a:t>
            </a:r>
            <a:r>
              <a:rPr lang="de-DE" dirty="0" smtClean="0"/>
              <a:t> </a:t>
            </a:r>
            <a:r>
              <a:rPr lang="de-DE" dirty="0" err="1" smtClean="0"/>
              <a:t>ports</a:t>
            </a:r>
            <a:r>
              <a:rPr lang="de-DE" dirty="0" smtClean="0"/>
              <a:t> (e.g. RM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require</a:t>
            </a:r>
            <a:r>
              <a:rPr lang="de-DE" dirty="0" smtClean="0"/>
              <a:t> an </a:t>
            </a:r>
            <a:r>
              <a:rPr lang="de-DE" dirty="0" err="1" smtClean="0"/>
              <a:t>exotic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(e.g. z/O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uses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> (IPs </a:t>
            </a:r>
            <a:r>
              <a:rPr lang="de-DE" dirty="0" err="1" smtClean="0"/>
              <a:t>and</a:t>
            </a:r>
            <a:r>
              <a:rPr lang="de-DE" dirty="0" smtClean="0"/>
              <a:t> Ports)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han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/</a:t>
            </a:r>
            <a:r>
              <a:rPr lang="de-DE" dirty="0" err="1" smtClean="0"/>
              <a:t>envv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591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20" grpId="0"/>
      <p:bldP spid="21" grpId="0"/>
      <p:bldP spid="22" grpId="0" animBg="1"/>
      <p:bldP spid="26" grpId="0"/>
      <p:bldP spid="30" grpId="0" animBg="1"/>
      <p:bldP spid="32" grpId="0"/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651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61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1239186" y="334308"/>
            <a:ext cx="9829800" cy="1420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1239186" y="4529391"/>
            <a:ext cx="9829800" cy="1869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Gleichschenkliges Dreieck 23"/>
          <p:cNvSpPr/>
          <p:nvPr/>
        </p:nvSpPr>
        <p:spPr>
          <a:xfrm>
            <a:off x="6835807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1404600" y="6492875"/>
            <a:ext cx="711200" cy="365125"/>
          </a:xfrm>
        </p:spPr>
        <p:txBody>
          <a:bodyPr/>
          <a:lstStyle/>
          <a:p>
            <a:fld id="{EBCCEB8C-0C59-3646-8774-4E9611D20F23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2811147" y="819601"/>
            <a:ext cx="1269064" cy="899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88038" y="428661"/>
            <a:ext cx="2804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7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963" y="804218"/>
            <a:ext cx="886076" cy="905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395919" y="408782"/>
            <a:ext cx="2082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v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9" name="Textfeld 8"/>
          <p:cNvSpPr txBox="1"/>
          <p:nvPr/>
        </p:nvSpPr>
        <p:spPr>
          <a:xfrm>
            <a:off x="7392924" y="408782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ps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5725024" y="702624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11" name="Gleichschenkliges Dreieck 10"/>
          <p:cNvSpPr/>
          <p:nvPr/>
        </p:nvSpPr>
        <p:spPr>
          <a:xfrm>
            <a:off x="1810826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2880904" y="2454969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ystem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2703716" y="2981179"/>
            <a:ext cx="1441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ubsystems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2613948" y="3528410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mponents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2902468" y="3995693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s</a:t>
            </a:r>
            <a:endParaRPr lang="de-DE" dirty="0"/>
          </a:p>
        </p:txBody>
      </p:sp>
      <p:sp>
        <p:nvSpPr>
          <p:cNvPr id="16" name="Pfeil nach rechts 15"/>
          <p:cNvSpPr/>
          <p:nvPr/>
        </p:nvSpPr>
        <p:spPr>
          <a:xfrm rot="10800000">
            <a:off x="4085079" y="2381606"/>
            <a:ext cx="966008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Pfeil nach rechts 16"/>
          <p:cNvSpPr/>
          <p:nvPr/>
        </p:nvSpPr>
        <p:spPr>
          <a:xfrm rot="5400000">
            <a:off x="4927654" y="3378263"/>
            <a:ext cx="1849105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4730492" y="2106450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Good</a:t>
            </a:r>
            <a:r>
              <a:rPr lang="de-DE" b="1" dirty="0" smtClean="0"/>
              <a:t> </a:t>
            </a:r>
            <a:r>
              <a:rPr lang="de-DE" b="1" dirty="0" err="1" smtClean="0"/>
              <a:t>starting</a:t>
            </a:r>
            <a:r>
              <a:rPr lang="de-DE" b="1" dirty="0" smtClean="0"/>
              <a:t> </a:t>
            </a:r>
            <a:r>
              <a:rPr lang="de-DE" b="1" dirty="0" err="1" smtClean="0"/>
              <a:t>point</a:t>
            </a:r>
            <a:endParaRPr lang="de-DE" b="1" dirty="0"/>
          </a:p>
        </p:txBody>
      </p:sp>
      <p:sp>
        <p:nvSpPr>
          <p:cNvPr id="19" name="Textfeld 18"/>
          <p:cNvSpPr txBox="1"/>
          <p:nvPr/>
        </p:nvSpPr>
        <p:spPr>
          <a:xfrm>
            <a:off x="4387702" y="4578874"/>
            <a:ext cx="2929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composition</a:t>
            </a:r>
            <a:r>
              <a:rPr lang="de-DE" b="1" dirty="0" smtClean="0"/>
              <a:t> trade-off</a:t>
            </a:r>
            <a:endParaRPr lang="de-DE" b="1" dirty="0"/>
          </a:p>
        </p:txBody>
      </p:sp>
      <p:sp>
        <p:nvSpPr>
          <p:cNvPr id="20" name="Textfeld 19"/>
          <p:cNvSpPr txBox="1"/>
          <p:nvPr/>
        </p:nvSpPr>
        <p:spPr>
          <a:xfrm>
            <a:off x="7622760" y="3587741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icroservices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7622759" y="403225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anoservices</a:t>
            </a:r>
            <a:endParaRPr lang="de-DE" dirty="0"/>
          </a:p>
        </p:txBody>
      </p:sp>
      <p:sp>
        <p:nvSpPr>
          <p:cNvPr id="22" name="Textfeld 21"/>
          <p:cNvSpPr txBox="1"/>
          <p:nvPr/>
        </p:nvSpPr>
        <p:spPr>
          <a:xfrm>
            <a:off x="7605312" y="3019206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acroservices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7885651" y="2462991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Monolith</a:t>
            </a:r>
            <a:endParaRPr lang="de-DE" dirty="0"/>
          </a:p>
        </p:txBody>
      </p:sp>
      <p:sp>
        <p:nvSpPr>
          <p:cNvPr id="26" name="Pfeil nach rechts 25"/>
          <p:cNvSpPr/>
          <p:nvPr/>
        </p:nvSpPr>
        <p:spPr>
          <a:xfrm>
            <a:off x="5044707" y="2381605"/>
            <a:ext cx="2702687" cy="320329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26"/>
          <p:cNvSpPr txBox="1"/>
          <p:nvPr/>
        </p:nvSpPr>
        <p:spPr>
          <a:xfrm>
            <a:off x="1503755" y="5215247"/>
            <a:ext cx="46625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More flexibl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isolation</a:t>
            </a:r>
            <a:r>
              <a:rPr lang="de-DE" dirty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crash</a:t>
            </a:r>
            <a:r>
              <a:rPr lang="de-DE" dirty="0" smtClean="0"/>
              <a:t>, </a:t>
            </a:r>
            <a:r>
              <a:rPr lang="de-DE" dirty="0" err="1" smtClean="0"/>
              <a:t>slow</a:t>
            </a:r>
            <a:r>
              <a:rPr lang="de-DE" dirty="0" smtClean="0"/>
              <a:t>-down, …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Independent </a:t>
            </a:r>
            <a:r>
              <a:rPr lang="de-DE" dirty="0" err="1" smtClean="0"/>
              <a:t>releas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eployment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Higher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endParaRPr lang="de-DE" dirty="0" smtClean="0"/>
          </a:p>
        </p:txBody>
      </p:sp>
      <p:sp>
        <p:nvSpPr>
          <p:cNvPr id="29" name="Textfeld 28"/>
          <p:cNvSpPr txBox="1"/>
          <p:nvPr/>
        </p:nvSpPr>
        <p:spPr>
          <a:xfrm>
            <a:off x="2902468" y="4661019"/>
            <a:ext cx="51488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00B050"/>
                </a:solidFill>
              </a:rPr>
              <a:t>+</a:t>
            </a:r>
            <a:endParaRPr lang="de-DE" sz="4400" dirty="0">
              <a:solidFill>
                <a:srgbClr val="00B05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557474" y="4563485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6686555" y="5155117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troubleshooting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17157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4" grpId="0" animBg="1"/>
      <p:bldP spid="11" grpId="0" animBg="1"/>
      <p:bldP spid="12" grpId="0"/>
      <p:bldP spid="13" grpId="0"/>
      <p:bldP spid="14" grpId="0"/>
      <p:bldP spid="15" grpId="0"/>
      <p:bldP spid="16" grpId="0" animBg="1"/>
      <p:bldP spid="17" grpId="0" animBg="1"/>
      <p:bldP spid="18" grpId="0"/>
      <p:bldP spid="19" grpId="0"/>
      <p:bldP spid="20" grpId="0"/>
      <p:bldP spid="21" grpId="0"/>
      <p:bldP spid="22" grpId="0"/>
      <p:bldP spid="23" grpId="0"/>
      <p:bldP spid="26" grpId="0" animBg="1"/>
      <p:bldP spid="27" grpId="0"/>
      <p:bldP spid="29" grpId="0"/>
      <p:bldP spid="30" grpId="0"/>
      <p:bldP spid="3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2: </a:t>
            </a:r>
            <a:r>
              <a:rPr lang="de-DE" dirty="0" err="1" smtClean="0"/>
              <a:t>Platformization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208315" y="2738488"/>
            <a:ext cx="4504900" cy="15439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3201703" y="2446944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330784" y="3038576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trike="sngStrike" dirty="0" err="1" smtClean="0"/>
              <a:t>Increas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infrastructure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complexity</a:t>
            </a:r>
            <a:endParaRPr lang="de-DE" strike="sngStrik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trike="sngStrike" dirty="0" err="1" smtClean="0"/>
              <a:t>Increas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troubleshoot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complexity</a:t>
            </a:r>
            <a:endParaRPr lang="de-DE" strike="sngStrik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  <p:sp>
        <p:nvSpPr>
          <p:cNvPr id="18" name="Pfeil nach rechts 17"/>
          <p:cNvSpPr/>
          <p:nvPr/>
        </p:nvSpPr>
        <p:spPr>
          <a:xfrm>
            <a:off x="5817058" y="3216385"/>
            <a:ext cx="812342" cy="576943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43362" name="Picture 2" descr="https://lh3.googleusercontent.com/oBf8M1D0-9AtxPRjosKaXFaFiENdl-LCbB5CpjTPQ_hfgg4XEw4RLDxPmtU6DbTVEg=h9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8817" y="1807388"/>
            <a:ext cx="1823412" cy="3243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feld 18"/>
          <p:cNvSpPr txBox="1"/>
          <p:nvPr/>
        </p:nvSpPr>
        <p:spPr>
          <a:xfrm>
            <a:off x="6629400" y="5159618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>
                <a:solidFill>
                  <a:schemeClr val="bg1"/>
                </a:solidFill>
              </a:rPr>
              <a:t>Good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>
                <a:solidFill>
                  <a:schemeClr val="bg1"/>
                </a:solidFill>
              </a:rPr>
              <a:t>I</a:t>
            </a:r>
            <a:r>
              <a:rPr lang="de-DE" b="1" dirty="0" smtClean="0">
                <a:solidFill>
                  <a:schemeClr val="bg1"/>
                </a:solidFill>
              </a:rPr>
              <a:t>nfrastructure Stack!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52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37817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27761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48238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385818" y="4951994"/>
            <a:ext cx="1944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39250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28640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789030"/>
            <a:ext cx="3924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App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5518951" y="179894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28640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39072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49519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8357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37817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27761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48238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385818" y="4951994"/>
            <a:ext cx="1944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39250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28640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789030"/>
            <a:ext cx="3924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App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5518951" y="179894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28640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39072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49519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636552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145410" name="Picture 2" descr="https://745515a37222097b0902-74ef300a2b2b2d9e236c9459912aaf20.ssl.cf2.rackcdn.com/77377beeeb64db9152e1b3ffc12109ae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92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 rot="21179081">
            <a:off x="1463231" y="3544468"/>
            <a:ext cx="3897086" cy="173937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smtClean="0">
                <a:solidFill>
                  <a:schemeClr val="bg1"/>
                </a:solidFill>
              </a:rPr>
              <a:t>The 3 Cloud </a:t>
            </a:r>
            <a:r>
              <a:rPr lang="de-DE" b="1" dirty="0" err="1" smtClean="0">
                <a:solidFill>
                  <a:schemeClr val="bg1"/>
                </a:solidFill>
              </a:rPr>
              <a:t>Commandments</a:t>
            </a:r>
            <a:r>
              <a:rPr lang="de-DE" b="1" dirty="0" smtClean="0">
                <a:solidFill>
                  <a:schemeClr val="bg1"/>
                </a:solidFill>
              </a:rPr>
              <a:t>:</a:t>
            </a:r>
          </a:p>
          <a:p>
            <a:endParaRPr lang="de-DE" b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Everything</a:t>
            </a:r>
            <a:r>
              <a:rPr lang="de-DE" b="1" dirty="0" smtClean="0">
                <a:solidFill>
                  <a:schemeClr val="bg1"/>
                </a:solidFill>
              </a:rPr>
              <a:t> Fails All The Time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smtClean="0">
                <a:solidFill>
                  <a:schemeClr val="bg1"/>
                </a:solidFill>
              </a:rPr>
              <a:t>Focus on MTTR not MTTF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Scale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smtClean="0">
                <a:solidFill>
                  <a:schemeClr val="bg1"/>
                </a:solidFill>
              </a:rPr>
              <a:t>out not </a:t>
            </a:r>
            <a:r>
              <a:rPr lang="de-DE" b="1" dirty="0" err="1" smtClean="0">
                <a:solidFill>
                  <a:schemeClr val="bg1"/>
                </a:solidFill>
              </a:rPr>
              <a:t>up</a:t>
            </a:r>
            <a:endParaRPr lang="de-DE" b="1" dirty="0">
              <a:solidFill>
                <a:schemeClr val="bg1"/>
              </a:solidFill>
            </a:endParaRPr>
          </a:p>
          <a:p>
            <a:endParaRPr lang="de-DE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675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 b="46564"/>
          <a:stretch/>
        </p:blipFill>
        <p:spPr>
          <a:xfrm>
            <a:off x="1266683" y="1436618"/>
            <a:ext cx="10326603" cy="362023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52400" y="18796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152400" y="36866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427514" y="44176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240486" y="40655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10025743" y="34722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255844" y="16284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7901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030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37817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27761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48238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385818" y="4951994"/>
            <a:ext cx="1944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39250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28640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789030"/>
            <a:ext cx="3924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App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5518951" y="1798941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28640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39072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49519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1361495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 </a:t>
            </a:r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arved</a:t>
            </a:r>
            <a:r>
              <a:rPr lang="de-DE" dirty="0" smtClean="0"/>
              <a:t> 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lassical</a:t>
            </a:r>
            <a:r>
              <a:rPr lang="de-DE" dirty="0" smtClean="0"/>
              <a:t> Software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82324" y="1614417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NGINX</a:t>
            </a:r>
          </a:p>
        </p:txBody>
      </p:sp>
      <p:sp>
        <p:nvSpPr>
          <p:cNvPr id="6" name="Rechteck 5"/>
          <p:cNvSpPr/>
          <p:nvPr/>
        </p:nvSpPr>
        <p:spPr>
          <a:xfrm>
            <a:off x="2182324" y="3309031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Tomcat</a:t>
            </a:r>
            <a:endParaRPr lang="de-DE" dirty="0" smtClean="0"/>
          </a:p>
        </p:txBody>
      </p:sp>
      <p:sp>
        <p:nvSpPr>
          <p:cNvPr id="7" name="Rechteck 6"/>
          <p:cNvSpPr/>
          <p:nvPr/>
        </p:nvSpPr>
        <p:spPr>
          <a:xfrm>
            <a:off x="2182324" y="5003645"/>
            <a:ext cx="1388226" cy="127184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MySQL</a:t>
            </a:r>
          </a:p>
        </p:txBody>
      </p:sp>
      <p:sp>
        <p:nvSpPr>
          <p:cNvPr id="8" name="Rechteck 7"/>
          <p:cNvSpPr/>
          <p:nvPr/>
        </p:nvSpPr>
        <p:spPr>
          <a:xfrm>
            <a:off x="9671593" y="1124194"/>
            <a:ext cx="434571" cy="43067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9" name="Textfeld 8"/>
          <p:cNvSpPr txBox="1"/>
          <p:nvPr/>
        </p:nvSpPr>
        <p:spPr>
          <a:xfrm>
            <a:off x="10106164" y="1154865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cxnSp>
        <p:nvCxnSpPr>
          <p:cNvPr id="11" name="Gerade Verbindung mit Pfeil 10"/>
          <p:cNvCxnSpPr>
            <a:stCxn id="5" idx="2"/>
            <a:endCxn id="6" idx="0"/>
          </p:cNvCxnSpPr>
          <p:nvPr/>
        </p:nvCxnSpPr>
        <p:spPr>
          <a:xfrm>
            <a:off x="2876437" y="2886264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6" idx="2"/>
            <a:endCxn id="7" idx="0"/>
          </p:cNvCxnSpPr>
          <p:nvPr/>
        </p:nvCxnSpPr>
        <p:spPr>
          <a:xfrm>
            <a:off x="2876437" y="4580878"/>
            <a:ext cx="0" cy="422767"/>
          </a:xfrm>
          <a:prstGeom prst="straightConnector1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3753431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7" name="Rechteck 16"/>
          <p:cNvSpPr/>
          <p:nvPr/>
        </p:nvSpPr>
        <p:spPr>
          <a:xfrm>
            <a:off x="4417063" y="1973646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8" name="Rechteck 17"/>
          <p:cNvSpPr/>
          <p:nvPr/>
        </p:nvSpPr>
        <p:spPr>
          <a:xfrm>
            <a:off x="3753431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9" name="Rechteck 18"/>
          <p:cNvSpPr/>
          <p:nvPr/>
        </p:nvSpPr>
        <p:spPr>
          <a:xfrm>
            <a:off x="4417063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0" name="Rechteck 19"/>
          <p:cNvSpPr/>
          <p:nvPr/>
        </p:nvSpPr>
        <p:spPr>
          <a:xfrm>
            <a:off x="5091779" y="3647275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3783361" y="5362874"/>
            <a:ext cx="511232" cy="553388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2" name="Textfeld 21"/>
          <p:cNvSpPr txBox="1"/>
          <p:nvPr/>
        </p:nvSpPr>
        <p:spPr>
          <a:xfrm>
            <a:off x="6059488" y="1646308"/>
            <a:ext cx="298030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err="1"/>
              <a:t>O</a:t>
            </a:r>
            <a:r>
              <a:rPr lang="de-DE" dirty="0" err="1" smtClean="0"/>
              <a:t>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 but </a:t>
            </a:r>
            <a:r>
              <a:rPr lang="de-DE" dirty="0" err="1" smtClean="0"/>
              <a:t>ha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cloud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Replac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infrastructure</a:t>
            </a:r>
            <a:endParaRPr lang="de-DE" dirty="0" smtClean="0"/>
          </a:p>
        </p:txBody>
      </p:sp>
      <p:sp>
        <p:nvSpPr>
          <p:cNvPr id="23" name="Textfeld 22"/>
          <p:cNvSpPr txBox="1"/>
          <p:nvPr/>
        </p:nvSpPr>
        <p:spPr>
          <a:xfrm>
            <a:off x="6046071" y="3309031"/>
            <a:ext cx="344838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.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modifications</a:t>
            </a:r>
            <a:r>
              <a:rPr lang="de-DE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vari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move </a:t>
            </a:r>
            <a:r>
              <a:rPr lang="de-DE" dirty="0" err="1" smtClean="0"/>
              <a:t>cross-instance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endParaRPr lang="de-DE" dirty="0"/>
          </a:p>
        </p:txBody>
      </p:sp>
      <p:sp>
        <p:nvSpPr>
          <p:cNvPr id="24" name="Textfeld 23"/>
          <p:cNvSpPr txBox="1"/>
          <p:nvPr/>
        </p:nvSpPr>
        <p:spPr>
          <a:xfrm>
            <a:off x="6061058" y="5045707"/>
            <a:ext cx="34291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smtClean="0"/>
              <a:t>Single </a:t>
            </a:r>
            <a:r>
              <a:rPr lang="de-DE" dirty="0" err="1" smtClean="0"/>
              <a:t>instance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a cluster-version like </a:t>
            </a:r>
            <a:br>
              <a:rPr lang="de-DE" dirty="0" smtClean="0"/>
            </a:br>
            <a:r>
              <a:rPr lang="de-DE" dirty="0" err="1" smtClean="0"/>
              <a:t>Galera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Vitess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Operate</a:t>
            </a:r>
            <a:r>
              <a:rPr lang="de-DE" dirty="0" smtClean="0"/>
              <a:t> outsid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loud</a:t>
            </a:r>
            <a:endParaRPr lang="de-DE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2360911" y="1092303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Sample: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459961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3: </a:t>
            </a:r>
            <a:r>
              <a:rPr lang="de-DE" dirty="0" err="1" smtClean="0"/>
              <a:t>Establish</a:t>
            </a:r>
            <a:r>
              <a:rPr lang="de-DE" dirty="0" smtClean="0"/>
              <a:t> </a:t>
            </a:r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445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146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33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3</a:t>
            </a:fld>
            <a:endParaRPr lang="de-DE" dirty="0"/>
          </a:p>
        </p:txBody>
      </p:sp>
      <p:cxnSp>
        <p:nvCxnSpPr>
          <p:cNvPr id="6" name="Gerader Verbinder 5"/>
          <p:cNvCxnSpPr/>
          <p:nvPr/>
        </p:nvCxnSpPr>
        <p:spPr>
          <a:xfrm>
            <a:off x="1321727" y="4206219"/>
            <a:ext cx="8839199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9636608" y="3846991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pp</a:t>
            </a: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8770692" y="4173429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cxnSp>
        <p:nvCxnSpPr>
          <p:cNvPr id="13" name="Gerader Verbinder 12"/>
          <p:cNvCxnSpPr/>
          <p:nvPr/>
        </p:nvCxnSpPr>
        <p:spPr>
          <a:xfrm flipH="1">
            <a:off x="5700916" y="1619069"/>
            <a:ext cx="3898" cy="399140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5023821" y="1563077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5768529" y="156438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endParaRPr lang="de-DE" dirty="0"/>
          </a:p>
        </p:txBody>
      </p:sp>
      <p:sp>
        <p:nvSpPr>
          <p:cNvPr id="19" name="Abgerundetes Rechteck 18"/>
          <p:cNvSpPr/>
          <p:nvPr/>
        </p:nvSpPr>
        <p:spPr>
          <a:xfrm>
            <a:off x="1321727" y="4714004"/>
            <a:ext cx="8839200" cy="511629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Operating System</a:t>
            </a:r>
          </a:p>
        </p:txBody>
      </p:sp>
      <p:sp>
        <p:nvSpPr>
          <p:cNvPr id="21" name="Ellipse 20"/>
          <p:cNvSpPr/>
          <p:nvPr/>
        </p:nvSpPr>
        <p:spPr>
          <a:xfrm>
            <a:off x="5478013" y="4000106"/>
            <a:ext cx="453602" cy="391886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5683042" y="4010992"/>
            <a:ext cx="63715" cy="6921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3" name="Textfeld 22"/>
          <p:cNvSpPr txBox="1"/>
          <p:nvPr/>
        </p:nvSpPr>
        <p:spPr>
          <a:xfrm>
            <a:off x="5163640" y="1228225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Process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10160926" y="400010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rganization</a:t>
            </a:r>
            <a:endParaRPr lang="de-DE" b="1" dirty="0"/>
          </a:p>
        </p:txBody>
      </p:sp>
      <p:sp>
        <p:nvSpPr>
          <p:cNvPr id="29" name="Abgerundetes Rechteck 28"/>
          <p:cNvSpPr/>
          <p:nvPr/>
        </p:nvSpPr>
        <p:spPr>
          <a:xfrm>
            <a:off x="1386004" y="2842866"/>
            <a:ext cx="838200" cy="391886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de</a:t>
            </a:r>
          </a:p>
        </p:txBody>
      </p:sp>
      <p:sp>
        <p:nvSpPr>
          <p:cNvPr id="30" name="Abgerundetes Rechteck 29"/>
          <p:cNvSpPr/>
          <p:nvPr/>
        </p:nvSpPr>
        <p:spPr>
          <a:xfrm>
            <a:off x="3569864" y="2806395"/>
            <a:ext cx="1300605" cy="49044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1" name="Abgerundetes Rechteck 30"/>
          <p:cNvSpPr/>
          <p:nvPr/>
        </p:nvSpPr>
        <p:spPr>
          <a:xfrm>
            <a:off x="3655194" y="2842866"/>
            <a:ext cx="1139442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337604" y="2842866"/>
            <a:ext cx="1139444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3" name="Abgerundetes Rechteck 32"/>
          <p:cNvSpPr/>
          <p:nvPr/>
        </p:nvSpPr>
        <p:spPr>
          <a:xfrm>
            <a:off x="4963285" y="2666577"/>
            <a:ext cx="1451414" cy="77894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4" name="Abgerundetes Rechteck 33"/>
          <p:cNvSpPr/>
          <p:nvPr/>
        </p:nvSpPr>
        <p:spPr>
          <a:xfrm>
            <a:off x="5075784" y="2748711"/>
            <a:ext cx="774400" cy="28182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Abgerundetes Rechteck 34"/>
          <p:cNvSpPr/>
          <p:nvPr/>
        </p:nvSpPr>
        <p:spPr>
          <a:xfrm>
            <a:off x="5350140" y="3064396"/>
            <a:ext cx="774400" cy="27859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Abgerundetes Rechteck 35"/>
          <p:cNvSpPr/>
          <p:nvPr/>
        </p:nvSpPr>
        <p:spPr>
          <a:xfrm>
            <a:off x="5931615" y="2758389"/>
            <a:ext cx="418268" cy="272143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Abgerundetes Rechteck 36"/>
          <p:cNvSpPr/>
          <p:nvPr/>
        </p:nvSpPr>
        <p:spPr>
          <a:xfrm>
            <a:off x="5255109" y="2751937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Abgerundetes Rechteck 37"/>
          <p:cNvSpPr/>
          <p:nvPr/>
        </p:nvSpPr>
        <p:spPr>
          <a:xfrm>
            <a:off x="5514436" y="3079059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9" name="Abgerundetes Rechteck 38"/>
          <p:cNvSpPr/>
          <p:nvPr/>
        </p:nvSpPr>
        <p:spPr>
          <a:xfrm>
            <a:off x="5982223" y="2796098"/>
            <a:ext cx="347724" cy="195325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40" name="Textfeld 39"/>
          <p:cNvSpPr txBox="1"/>
          <p:nvPr/>
        </p:nvSpPr>
        <p:spPr>
          <a:xfrm>
            <a:off x="2052695" y="2297245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/>
              <a:t>CI</a:t>
            </a:r>
            <a:endParaRPr lang="de-DE" i="1" dirty="0"/>
          </a:p>
        </p:txBody>
      </p:sp>
      <p:sp>
        <p:nvSpPr>
          <p:cNvPr id="41" name="Textfeld 40"/>
          <p:cNvSpPr txBox="1"/>
          <p:nvPr/>
        </p:nvSpPr>
        <p:spPr>
          <a:xfrm>
            <a:off x="2751788" y="2297245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Containerize</a:t>
            </a:r>
            <a:endParaRPr lang="de-DE" i="1" dirty="0"/>
          </a:p>
        </p:txBody>
      </p:sp>
      <p:sp>
        <p:nvSpPr>
          <p:cNvPr id="42" name="Textfeld 41"/>
          <p:cNvSpPr txBox="1"/>
          <p:nvPr/>
        </p:nvSpPr>
        <p:spPr>
          <a:xfrm>
            <a:off x="4328759" y="2297245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Orchestrate</a:t>
            </a:r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186618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2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7526" y="-1"/>
            <a:ext cx="6096000" cy="687062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652592" y="220344"/>
            <a:ext cx="1905000" cy="455931"/>
          </a:xfrm>
          <a:prstGeom prst="wedgeRoundRectCallout">
            <a:avLst>
              <a:gd name="adj1" fmla="val -125833"/>
              <a:gd name="adj2" fmla="val -48855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aufprozess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9804992" y="1683701"/>
            <a:ext cx="1905000" cy="455931"/>
          </a:xfrm>
          <a:prstGeom prst="wedgeRoundRectCallout">
            <a:avLst>
              <a:gd name="adj1" fmla="val -175333"/>
              <a:gd name="adj2" fmla="val 17886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Items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9652592" y="220343"/>
            <a:ext cx="1905000" cy="455931"/>
          </a:xfrm>
          <a:prstGeom prst="wedgeRoundRectCallout">
            <a:avLst>
              <a:gd name="adj1" fmla="val -113833"/>
              <a:gd name="adj2" fmla="val 17468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Buying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52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8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75" y="-1"/>
            <a:ext cx="6238875" cy="686276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855200" y="333688"/>
            <a:ext cx="1905000" cy="597934"/>
          </a:xfrm>
          <a:prstGeom prst="wedgeRoundRectCallout">
            <a:avLst>
              <a:gd name="adj1" fmla="val -113333"/>
              <a:gd name="adj2" fmla="val -4985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5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1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515" y="0"/>
            <a:ext cx="8478982" cy="6858000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0103560" y="708013"/>
            <a:ext cx="1918292" cy="954725"/>
          </a:xfrm>
          <a:prstGeom prst="wedgeRoundRectCallout">
            <a:avLst>
              <a:gd name="adj1" fmla="val -61152"/>
              <a:gd name="adj2" fmla="val -87487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personalized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4394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7463" y="1547818"/>
            <a:ext cx="6899725" cy="214215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347463" y="3689971"/>
            <a:ext cx="689972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200" dirty="0" err="1" smtClean="0"/>
              <a:t>Walmart</a:t>
            </a:r>
            <a:r>
              <a:rPr lang="de-DE" sz="1200" dirty="0" smtClean="0"/>
              <a:t> auf 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http</a:t>
            </a:r>
            <a:r>
              <a:rPr lang="de-DE" sz="1200" dirty="0">
                <a:solidFill>
                  <a:schemeClr val="bg1"/>
                </a:solidFill>
                <a:hlinkClick r:id="rId3"/>
              </a:rPr>
              <a:t>://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www.oneops.com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347462" y="4178941"/>
            <a:ext cx="6899725" cy="13542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/>
              <a:t>“</a:t>
            </a:r>
            <a:r>
              <a:rPr lang="en-US" sz="1400" dirty="0" smtClean="0">
                <a:solidFill>
                  <a:srgbClr val="3A4145"/>
                </a:solidFill>
                <a:latin typeface="Open Sans"/>
              </a:rPr>
              <a:t>[…] it </a:t>
            </a:r>
            <a:r>
              <a:rPr lang="en-US" sz="1400" dirty="0">
                <a:solidFill>
                  <a:srgbClr val="3A4145"/>
                </a:solidFill>
                <a:latin typeface="Open Sans"/>
              </a:rPr>
              <a:t>was unable to scale for 6 million </a:t>
            </a:r>
            <a:r>
              <a:rPr lang="en-US" sz="1400" dirty="0" err="1">
                <a:solidFill>
                  <a:srgbClr val="3A4145"/>
                </a:solidFill>
                <a:latin typeface="Open Sans"/>
              </a:rPr>
              <a:t>pageviews</a:t>
            </a:r>
            <a:r>
              <a:rPr lang="en-US" sz="1400" dirty="0">
                <a:solidFill>
                  <a:srgbClr val="3A4145"/>
                </a:solidFill>
                <a:latin typeface="Open Sans"/>
              </a:rPr>
              <a:t> per minute and was down for most of the day during peak events</a:t>
            </a:r>
            <a:r>
              <a:rPr lang="en-US" sz="1400" dirty="0" smtClean="0">
                <a:solidFill>
                  <a:srgbClr val="3A4145"/>
                </a:solidFill>
                <a:latin typeface="Open Sans"/>
              </a:rPr>
              <a:t>.”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“This is the multi-million dollar question which the IT Department of Walmart Canada had to address after they were failing to provide to their users on Black Fridays for two years in a row.”</a:t>
            </a:r>
          </a:p>
          <a:p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</a:t>
            </a:r>
            <a:r>
              <a:rPr lang="de-DE" sz="1200" dirty="0" smtClean="0">
                <a:hlinkClick r:id="rId4"/>
              </a:rPr>
              <a:t>blog.risingstack.com/how-enterprises-benefit-from-microservices-architectures</a:t>
            </a:r>
            <a:r>
              <a:rPr lang="de-DE" sz="1200" dirty="0"/>
              <a:t> </a:t>
            </a:r>
            <a:r>
              <a:rPr lang="de-DE" sz="1200" dirty="0" smtClean="0"/>
              <a:t> </a:t>
            </a:r>
          </a:p>
        </p:txBody>
      </p:sp>
      <p:sp>
        <p:nvSpPr>
          <p:cNvPr id="9" name="Gewitterblitz 8"/>
          <p:cNvSpPr/>
          <p:nvPr/>
        </p:nvSpPr>
        <p:spPr>
          <a:xfrm>
            <a:off x="8010940" y="2146205"/>
            <a:ext cx="1179840" cy="1436628"/>
          </a:xfrm>
          <a:prstGeom prst="lightningBolt">
            <a:avLst/>
          </a:prstGeom>
          <a:solidFill>
            <a:srgbClr val="FF0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8796835" y="2480129"/>
            <a:ext cx="30187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Long Change-</a:t>
            </a:r>
            <a:r>
              <a:rPr lang="de-DE" dirty="0" err="1" smtClean="0">
                <a:solidFill>
                  <a:schemeClr val="bg1"/>
                </a:solidFill>
              </a:rPr>
              <a:t>to</a:t>
            </a:r>
            <a:r>
              <a:rPr lang="de-DE" dirty="0" smtClean="0">
                <a:solidFill>
                  <a:schemeClr val="bg1"/>
                </a:solidFill>
              </a:rPr>
              <a:t>-</a:t>
            </a:r>
            <a:r>
              <a:rPr lang="de-DE" dirty="0" err="1" smtClean="0">
                <a:solidFill>
                  <a:schemeClr val="bg1"/>
                </a:solidFill>
              </a:rPr>
              <a:t>Productio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ewitterblitz 10"/>
          <p:cNvSpPr/>
          <p:nvPr/>
        </p:nvSpPr>
        <p:spPr>
          <a:xfrm>
            <a:off x="7891197" y="4395496"/>
            <a:ext cx="1179840" cy="1436628"/>
          </a:xfrm>
          <a:prstGeom prst="lightningBolt">
            <a:avLst/>
          </a:prstGeom>
          <a:solidFill>
            <a:srgbClr val="FF0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8600860" y="4597932"/>
            <a:ext cx="24929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Lacking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scalability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and</a:t>
            </a:r>
            <a:r>
              <a:rPr lang="de-DE" dirty="0" smtClean="0">
                <a:solidFill>
                  <a:schemeClr val="bg1"/>
                </a:solidFill>
              </a:rPr>
              <a:t/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err="1" smtClean="0">
                <a:solidFill>
                  <a:schemeClr val="bg1"/>
                </a:solidFill>
              </a:rPr>
              <a:t>elasticity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2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6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7709" y="6027"/>
            <a:ext cx="5952741" cy="489288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8025808" y="1329050"/>
            <a:ext cx="1918292" cy="954725"/>
          </a:xfrm>
          <a:prstGeom prst="wedgeRoundRectCallout">
            <a:avLst>
              <a:gd name="adj1" fmla="val -92930"/>
              <a:gd name="adj2" fmla="val -17927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Zusätzliche Dienste (z.T. personalisiert)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694" y="2576643"/>
            <a:ext cx="5322906" cy="4098166"/>
          </a:xfrm>
          <a:prstGeom prst="rect">
            <a:avLst/>
          </a:prstGeom>
        </p:spPr>
      </p:pic>
      <p:sp>
        <p:nvSpPr>
          <p:cNvPr id="8" name="Abgerundete rechteckige Legende 7"/>
          <p:cNvSpPr/>
          <p:nvPr/>
        </p:nvSpPr>
        <p:spPr>
          <a:xfrm>
            <a:off x="8025808" y="1324600"/>
            <a:ext cx="1918292" cy="954725"/>
          </a:xfrm>
          <a:prstGeom prst="wedgeRoundRectCallout">
            <a:avLst>
              <a:gd name="adj1" fmla="val -25401"/>
              <a:gd name="adj2" fmla="val 131003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19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8237" y="386169"/>
            <a:ext cx="5650305" cy="1501188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048237" y="1887357"/>
            <a:ext cx="565030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200" dirty="0" err="1" smtClean="0"/>
              <a:t>Walmart</a:t>
            </a:r>
            <a:r>
              <a:rPr lang="de-DE" sz="1200" dirty="0" smtClean="0"/>
              <a:t> auf 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http</a:t>
            </a:r>
            <a:r>
              <a:rPr lang="de-DE" sz="1200" dirty="0">
                <a:solidFill>
                  <a:schemeClr val="bg1"/>
                </a:solidFill>
                <a:hlinkClick r:id="rId3"/>
              </a:rPr>
              <a:t>://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www.oneops.com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048234" y="2297928"/>
            <a:ext cx="5650305" cy="93871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100" dirty="0" smtClean="0">
                <a:solidFill>
                  <a:srgbClr val="3A4145"/>
                </a:solidFill>
              </a:rPr>
              <a:t>“They </a:t>
            </a:r>
            <a:r>
              <a:rPr lang="en-US" sz="1100" dirty="0">
                <a:solidFill>
                  <a:srgbClr val="3A4145"/>
                </a:solidFill>
              </a:rPr>
              <a:t>wanted to prepare for the world by 2020, with 4 billion people connected, 25+ million apps available, and 5.200 GB of data for each person on Earth.</a:t>
            </a:r>
          </a:p>
          <a:p>
            <a:r>
              <a:rPr lang="en-US" sz="1100" dirty="0">
                <a:solidFill>
                  <a:srgbClr val="3A4145"/>
                </a:solidFill>
              </a:rPr>
              <a:t>Walmart </a:t>
            </a:r>
            <a:r>
              <a:rPr lang="en-US" sz="1100" dirty="0" err="1">
                <a:solidFill>
                  <a:srgbClr val="3A4145"/>
                </a:solidFill>
              </a:rPr>
              <a:t>replatformed</a:t>
            </a:r>
            <a:r>
              <a:rPr lang="en-US" sz="1100" dirty="0">
                <a:solidFill>
                  <a:srgbClr val="3A4145"/>
                </a:solidFill>
              </a:rPr>
              <a:t> </a:t>
            </a:r>
            <a:r>
              <a:rPr lang="en-US" sz="1100" dirty="0" smtClean="0">
                <a:solidFill>
                  <a:srgbClr val="3A4145"/>
                </a:solidFill>
              </a:rPr>
              <a:t>[…] with </a:t>
            </a:r>
            <a:r>
              <a:rPr lang="en-US" sz="1100" dirty="0">
                <a:solidFill>
                  <a:srgbClr val="3A4145"/>
                </a:solidFill>
              </a:rPr>
              <a:t>the intention of achieving close to 100% availability with reasonable costs</a:t>
            </a:r>
            <a:r>
              <a:rPr lang="en-US" sz="1100" dirty="0" smtClean="0">
                <a:solidFill>
                  <a:srgbClr val="3A4145"/>
                </a:solidFill>
              </a:rPr>
              <a:t>.”</a:t>
            </a:r>
          </a:p>
          <a:p>
            <a:r>
              <a:rPr lang="en-US" sz="1100" dirty="0">
                <a:solidFill>
                  <a:srgbClr val="3A4145"/>
                </a:solidFill>
                <a:hlinkClick r:id="rId4"/>
              </a:rPr>
              <a:t>https://</a:t>
            </a:r>
            <a:r>
              <a:rPr lang="en-US" sz="1100" dirty="0" smtClean="0">
                <a:solidFill>
                  <a:srgbClr val="3A4145"/>
                </a:solidFill>
                <a:hlinkClick r:id="rId4"/>
              </a:rPr>
              <a:t>blog.risingstack.com/how-enterprises-benefit-from-microservices-architectures</a:t>
            </a:r>
            <a:r>
              <a:rPr lang="en-US" sz="1100" dirty="0">
                <a:solidFill>
                  <a:srgbClr val="3A4145"/>
                </a:solidFill>
              </a:rPr>
              <a:t> </a:t>
            </a:r>
            <a:r>
              <a:rPr lang="en-US" sz="1100" dirty="0" smtClean="0">
                <a:solidFill>
                  <a:srgbClr val="3A4145"/>
                </a:solidFill>
              </a:rPr>
              <a:t> </a:t>
            </a:r>
            <a:endParaRPr lang="en-US" sz="1100" b="0" i="0" dirty="0">
              <a:solidFill>
                <a:srgbClr val="3A4145"/>
              </a:solidFill>
              <a:effectLst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048233" y="3394545"/>
            <a:ext cx="5650305" cy="172354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“In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fact, the organization reports that some 3,000 engineers 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[…] drive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30,000 changes per month to Walmart software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.”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“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Those new applications, which span everything from mobile devices to the Internet of things (</a:t>
            </a: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IoT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), are crucial weapons in a global e-commerce contest that pits Walmart against the likes of Amazon and Alibaba, as well as a host of other rivals that are emerging as the cost of entry into the online retail sector continues to decline in the age of the API economy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.”</a:t>
            </a:r>
            <a:endParaRPr lang="en-US" sz="1200" dirty="0" smtClean="0">
              <a:solidFill>
                <a:srgbClr val="000000"/>
              </a:solidFill>
              <a:latin typeface="Arial" panose="020B0604020202020204" pitchFamily="34" charset="0"/>
              <a:hlinkClick r:id="rId5"/>
            </a:endParaRPr>
          </a:p>
          <a:p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http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://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www.baselinemag.com/enterprise-apps/walmart-embraces-microservices-to-get-more-agile.html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de-DE" sz="1100" dirty="0"/>
          </a:p>
        </p:txBody>
      </p:sp>
      <p:sp>
        <p:nvSpPr>
          <p:cNvPr id="8" name="Rechteck 7"/>
          <p:cNvSpPr/>
          <p:nvPr/>
        </p:nvSpPr>
        <p:spPr>
          <a:xfrm>
            <a:off x="2048232" y="5275992"/>
            <a:ext cx="5650305" cy="118494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/>
              <a:t>“The </a:t>
            </a:r>
            <a:r>
              <a:rPr lang="en-US" sz="1200" dirty="0"/>
              <a:t>Walmart […] servers […] were able to handle all mobile Black Friday traffic with about 10 CPU cores and 28Gb RAM</a:t>
            </a:r>
            <a:r>
              <a:rPr lang="en-US" sz="1200" dirty="0" smtClean="0"/>
              <a:t>.”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/>
              <a:t>“On </a:t>
            </a:r>
            <a:r>
              <a:rPr lang="en-US" sz="1200" dirty="0"/>
              <a:t>Thanksgiving weekend, Walmart servers processed 1.5 billion requests per day. 70 percent of which were delivered through </a:t>
            </a:r>
            <a:r>
              <a:rPr lang="en-US" sz="1200" dirty="0" smtClean="0"/>
              <a:t>mobile.”</a:t>
            </a:r>
            <a:endParaRPr lang="en-US" sz="1200" dirty="0"/>
          </a:p>
          <a:p>
            <a:r>
              <a:rPr lang="de-DE" sz="1100" dirty="0" smtClean="0">
                <a:hlinkClick r:id="rId6"/>
              </a:rPr>
              <a:t>http</a:t>
            </a:r>
            <a:r>
              <a:rPr lang="de-DE" sz="1100" dirty="0">
                <a:hlinkClick r:id="rId6"/>
              </a:rPr>
              <a:t>://techcrunch.com/2014/12/02/walmart-com-reports-biggest-cyber-monday-in-history-mobile-traffic-at-70-over-the-holidays</a:t>
            </a:r>
            <a:endParaRPr lang="de-DE" sz="1100" dirty="0"/>
          </a:p>
        </p:txBody>
      </p:sp>
      <p:sp>
        <p:nvSpPr>
          <p:cNvPr id="9" name="Abgerundetes Rechteck 8"/>
          <p:cNvSpPr/>
          <p:nvPr/>
        </p:nvSpPr>
        <p:spPr>
          <a:xfrm>
            <a:off x="8119597" y="575734"/>
            <a:ext cx="3027373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1,000 </a:t>
            </a:r>
            <a:r>
              <a:rPr lang="de-DE" dirty="0" err="1" smtClean="0">
                <a:solidFill>
                  <a:schemeClr val="tx1"/>
                </a:solidFill>
              </a:rPr>
              <a:t>deployments</a:t>
            </a:r>
            <a:r>
              <a:rPr lang="de-DE" dirty="0" smtClean="0">
                <a:solidFill>
                  <a:schemeClr val="tx1"/>
                </a:solidFill>
              </a:rPr>
              <a:t> a </a:t>
            </a:r>
            <a:r>
              <a:rPr lang="de-DE" dirty="0" err="1" smtClean="0">
                <a:solidFill>
                  <a:schemeClr val="tx1"/>
                </a:solidFill>
              </a:rPr>
              <a:t>da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8119597" y="2365558"/>
            <a:ext cx="3027371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~100% </a:t>
            </a:r>
            <a:r>
              <a:rPr lang="de-DE" dirty="0" err="1" smtClean="0">
                <a:solidFill>
                  <a:schemeClr val="tx1"/>
                </a:solidFill>
              </a:rPr>
              <a:t>availabilit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8119598" y="5112248"/>
            <a:ext cx="3027372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Resourc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efficienc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3" name="Abgerundetes Rechteck 12"/>
          <p:cNvSpPr/>
          <p:nvPr/>
        </p:nvSpPr>
        <p:spPr>
          <a:xfrm>
            <a:off x="8119598" y="5862790"/>
            <a:ext cx="3027372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Suitabl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</a:t>
            </a:r>
            <a:r>
              <a:rPr lang="de-DE" dirty="0" err="1" smtClean="0">
                <a:solidFill>
                  <a:schemeClr val="tx1"/>
                </a:solidFill>
              </a:rPr>
              <a:t>calabilit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8119596" y="1326276"/>
            <a:ext cx="3027373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… </a:t>
            </a:r>
            <a:r>
              <a:rPr lang="de-DE" dirty="0" err="1" smtClean="0">
                <a:solidFill>
                  <a:schemeClr val="tx1"/>
                </a:solidFill>
              </a:rPr>
              <a:t>trigger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b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dev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teams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8119596" y="3658176"/>
            <a:ext cx="3027371" cy="902937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Enabled </a:t>
            </a:r>
            <a:r>
              <a:rPr lang="de-DE" dirty="0" err="1" smtClean="0">
                <a:solidFill>
                  <a:schemeClr val="tx1"/>
                </a:solidFill>
              </a:rPr>
              <a:t>new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kind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of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pplication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IoT</a:t>
            </a:r>
            <a:r>
              <a:rPr lang="de-DE" dirty="0" smtClean="0">
                <a:solidFill>
                  <a:schemeClr val="tx1"/>
                </a:solidFill>
              </a:rPr>
              <a:t>, mobile, APIs) </a:t>
            </a:r>
            <a:r>
              <a:rPr lang="de-DE" dirty="0" err="1" smtClean="0">
                <a:solidFill>
                  <a:schemeClr val="tx1"/>
                </a:solidFill>
              </a:rPr>
              <a:t>to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mpet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globally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66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-446315" y="4496117"/>
            <a:ext cx="13389429" cy="180702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400" dirty="0" err="1" smtClean="0">
                <a:solidFill>
                  <a:schemeClr val="tx1"/>
                </a:solidFill>
              </a:rPr>
              <a:t>What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did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they</a:t>
            </a:r>
            <a:r>
              <a:rPr lang="de-DE" sz="5400" dirty="0" smtClean="0">
                <a:solidFill>
                  <a:schemeClr val="tx1"/>
                </a:solidFill>
              </a:rPr>
              <a:t> do?</a:t>
            </a:r>
          </a:p>
        </p:txBody>
      </p:sp>
    </p:spTree>
    <p:extLst>
      <p:ext uri="{BB962C8B-B14F-4D97-AF65-F5344CB8AC3E}">
        <p14:creationId xmlns:p14="http://schemas.microsoft.com/office/powerpoint/2010/main" val="3370135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&quot;&gt;&lt;elem m_fUsage=&quot;5.51321559900000050000E+000&quot;&gt;&lt;m_msothmcolidx val=&quot;0&quot;/&gt;&lt;m_rgb r=&quot;3&quot; g=&quot;64&quot; b=&quot;cf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cb&quot; g=&quot;fe&quot; b=&quot;d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qaware-folienmaster-2.0.pptx" id="{19EA74FB-281D-4B59-AA48-9AF4ED9F384B}" vid="{7FB4C2EF-1793-45E0-8B03-E10ECCDEF0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aware-folienmaster-2.0</Template>
  <TotalTime>22</TotalTime>
  <Words>691</Words>
  <Application>Microsoft Macintosh PowerPoint</Application>
  <PresentationFormat>Widescreen</PresentationFormat>
  <Paragraphs>198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 Narrow</vt:lpstr>
      <vt:lpstr>Calibri</vt:lpstr>
      <vt:lpstr>Cambria Math</vt:lpstr>
      <vt:lpstr>Lucida Grande</vt:lpstr>
      <vt:lpstr>Open Sans</vt:lpstr>
      <vt:lpstr>Source Code Pro</vt:lpstr>
      <vt:lpstr>Wingdings</vt:lpstr>
      <vt:lpstr>Arial</vt:lpstr>
      <vt:lpstr>qaware-folienmaster-1.01</vt:lpstr>
      <vt:lpstr>think-cell Folie</vt:lpstr>
      <vt:lpstr>PowerPoint Presentation</vt:lpstr>
      <vt:lpstr>PowerPoint Presentation</vt:lpstr>
      <vt:lpstr>2002</vt:lpstr>
      <vt:lpstr>2008</vt:lpstr>
      <vt:lpstr>2011</vt:lpstr>
      <vt:lpstr>PowerPoint Presentation</vt:lpstr>
      <vt:lpstr>2016</vt:lpstr>
      <vt:lpstr>PowerPoint Presentation</vt:lpstr>
      <vt:lpstr>PowerPoint Presentation</vt:lpstr>
      <vt:lpstr>The GAFA inspiration</vt:lpstr>
      <vt:lpstr>Step 1: Decomposition</vt:lpstr>
      <vt:lpstr>Components along the Software Lifecycle</vt:lpstr>
      <vt:lpstr>The Anatomy of an Ops Component</vt:lpstr>
      <vt:lpstr>PowerPoint Presentation</vt:lpstr>
      <vt:lpstr>Step 2: Platformization</vt:lpstr>
      <vt:lpstr>The Cloud Native Stack</vt:lpstr>
      <vt:lpstr>The Cloud Native Stack</vt:lpstr>
      <vt:lpstr>PowerPoint Presentation</vt:lpstr>
      <vt:lpstr>PowerPoint Presentation</vt:lpstr>
      <vt:lpstr>The Cloud Native Stack</vt:lpstr>
      <vt:lpstr>Ops Components can also be carved out of Classical Software.</vt:lpstr>
      <vt:lpstr>Step 3: Establish Continuous Delivery</vt:lpstr>
      <vt:lpstr>Continuous Delivery</vt:lpstr>
    </vt:vector>
  </TitlesOfParts>
  <Company/>
  <LinksUpToDate>false</LinksUpToDate>
  <SharedDoc>false</SharedDoc>
  <HyperlinkBase/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Aware Folienmaster 2.0</dc:title>
  <dc:creator>Josef Adersberger</dc:creator>
  <cp:lastModifiedBy>Josef Adersberger</cp:lastModifiedBy>
  <cp:revision>293</cp:revision>
  <cp:lastPrinted>2014-02-12T14:25:50Z</cp:lastPrinted>
  <dcterms:created xsi:type="dcterms:W3CDTF">2016-03-02T09:19:53Z</dcterms:created>
  <dcterms:modified xsi:type="dcterms:W3CDTF">2016-10-24T18:28:59Z</dcterms:modified>
</cp:coreProperties>
</file>